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7" r:id="rId1"/>
  </p:sldMasterIdLst>
  <p:notesMasterIdLst>
    <p:notesMasterId r:id="rId3"/>
  </p:notesMasterIdLst>
  <p:handoutMasterIdLst>
    <p:handoutMasterId r:id="rId4"/>
  </p:handoutMasterIdLst>
  <p:sldIdLst>
    <p:sldId id="322" r:id="rId2"/>
  </p:sldIdLst>
  <p:sldSz cx="12192000" cy="6858000"/>
  <p:notesSz cx="6858000" cy="9144000"/>
  <p:embeddedFontLst>
    <p:embeddedFont>
      <p:font typeface="Fira Sans" panose="020B0503050000020004" pitchFamily="34" charset="0"/>
      <p:regular r:id="rId5"/>
      <p:bold r:id="rId6"/>
      <p:italic r:id="rId7"/>
      <p:boldItalic r:id="rId8"/>
    </p:embeddedFont>
    <p:embeddedFont>
      <p:font typeface="Roboto" panose="02000000000000000000" pitchFamily="2" charset="0"/>
      <p:regular r:id="rId9"/>
      <p:bold r:id="rId10"/>
    </p:embeddedFont>
    <p:embeddedFont>
      <p:font typeface="Roboto Condensed" panose="02000000000000000000" pitchFamily="2" charset="0"/>
      <p:regular r:id="rId11"/>
      <p:bold r:id="rId12"/>
      <p:italic r:id="rId13"/>
      <p:boldItalic r:id="rId14"/>
    </p:embeddedFont>
    <p:embeddedFont>
      <p:font typeface="Tahoma" panose="020B0604030504040204" pitchFamily="34" charset="0"/>
      <p:regular r:id="rId15"/>
      <p:bold r:id="rId16"/>
    </p:embeddedFont>
  </p:embeddedFontLst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tia Khorguashvili-Kinne" initials="NK" lastIdx="2" clrIdx="0">
    <p:extLst>
      <p:ext uri="{19B8F6BF-5375-455C-9EA6-DF929625EA0E}">
        <p15:presenceInfo xmlns:p15="http://schemas.microsoft.com/office/powerpoint/2012/main" userId="S::n.Khorguashvili-Kinne@eeu.edu.ge::895018d5-ee35-494f-8f96-d1f86d5b96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C0056"/>
    <a:srgbClr val="BFBFBF"/>
    <a:srgbClr val="0089C1"/>
    <a:srgbClr val="F3F5F6"/>
    <a:srgbClr val="F1992D"/>
    <a:srgbClr val="6AB023"/>
    <a:srgbClr val="C9D30E"/>
    <a:srgbClr val="979E0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37" autoAdjust="0"/>
    <p:restoredTop sz="96215" autoAdjust="0"/>
  </p:normalViewPr>
  <p:slideViewPr>
    <p:cSldViewPr snapToObjects="1" showGuides="1">
      <p:cViewPr varScale="1">
        <p:scale>
          <a:sx n="66" d="100"/>
          <a:sy n="66" d="100"/>
        </p:scale>
        <p:origin x="588" y="48"/>
      </p:cViewPr>
      <p:guideLst>
        <p:guide orient="horz" pos="1117"/>
        <p:guide pos="3840"/>
        <p:guide orient="horz" pos="3861"/>
      </p:guideLst>
    </p:cSldViewPr>
  </p:slideViewPr>
  <p:outlineViewPr>
    <p:cViewPr>
      <p:scale>
        <a:sx n="33" d="100"/>
        <a:sy n="33" d="100"/>
      </p:scale>
      <p:origin x="0" y="-612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98" d="100"/>
          <a:sy n="98" d="100"/>
        </p:scale>
        <p:origin x="-351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commentAuthors" Target="commentAuthors.xml"/><Relationship Id="rId3" Type="http://schemas.openxmlformats.org/officeDocument/2006/relationships/notesMaster" Target="notesMasters/notesMaster1.xml"/><Relationship Id="rId21" Type="http://schemas.openxmlformats.org/officeDocument/2006/relationships/theme" Target="theme/theme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2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font" Target="fonts/font11.fntdata"/><Relationship Id="rId10" Type="http://schemas.openxmlformats.org/officeDocument/2006/relationships/font" Target="fonts/font6.fntdata"/><Relationship Id="rId19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0D468B-7ABB-4109-BC53-3E50BE1131A4}" type="datetimeFigureOut">
              <a:rPr lang="de-DE" smtClean="0"/>
              <a:t>21.11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67C7C0-742E-4ABF-86BC-4FC72ED2341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1610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1546B5-0EE8-463F-B0C4-7B7324D7C135}" type="datetimeFigureOut">
              <a:rPr lang="en-GB" smtClean="0"/>
              <a:t>21/11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F82D2-E1E7-42C2-B8CB-060B44653FB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5002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46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91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937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583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229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874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520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9166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0" b="8370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4541E539-82D7-4793-8E2B-715C223E3C8C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14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3">
            <a:extLst>
              <a:ext uri="{FF2B5EF4-FFF2-40B4-BE49-F238E27FC236}">
                <a16:creationId xmlns:a16="http://schemas.microsoft.com/office/drawing/2014/main" id="{06CA8790-D3EA-407F-8B2E-0E297C528B23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3" name="Straight Connector 15">
              <a:extLst>
                <a:ext uri="{FF2B5EF4-FFF2-40B4-BE49-F238E27FC236}">
                  <a16:creationId xmlns:a16="http://schemas.microsoft.com/office/drawing/2014/main" id="{F02951C3-9DBC-4B82-9BB7-69BA5DAA6302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6">
              <a:extLst>
                <a:ext uri="{FF2B5EF4-FFF2-40B4-BE49-F238E27FC236}">
                  <a16:creationId xmlns:a16="http://schemas.microsoft.com/office/drawing/2014/main" id="{1BD4A5A7-FF45-4B1A-8202-0C3CE0AA2879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171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rech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689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86BE0DF-7D71-4374-A05A-3A5F116DC9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1372130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4227188-4C72-4E0F-AB71-E540A32767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79416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8D413015-C693-4FE3-8574-40487EFEC95D}" type="datetime1">
              <a:rPr lang="de-DE" smtClean="0"/>
              <a:pPr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6889" y="6568973"/>
            <a:ext cx="253274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36232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30950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D9B4201-F64C-4197-AEDA-CFC2EE02F18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3915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 userDrawn="1">
          <p15:clr>
            <a:srgbClr val="FBAE40"/>
          </p15:clr>
        </p15:guide>
        <p15:guide id="2" pos="461" userDrawn="1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12481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9" y="1773238"/>
            <a:ext cx="3887786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D28E90C-AA15-4497-A6AB-9A9E4B50855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75276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127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  <p15:guide id="2" pos="2910" userDrawn="1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  <p15:guide id="5" pos="461" userDrawn="1">
          <p15:clr>
            <a:srgbClr val="FBAE40"/>
          </p15:clr>
        </p15:guide>
        <p15:guide id="6" pos="721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80901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4B7C37C-D18C-4280-B262-13A7B251301F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72377" y="1773238"/>
            <a:ext cx="3887786" cy="4356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63499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233982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9942D21-2114-4C8E-8B40-2182BC72F11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652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78411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27837" y="0"/>
            <a:ext cx="5364163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30601F9-0DF5-4E6D-B456-91BCD8156312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6674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_blau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857049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083" y="0"/>
            <a:ext cx="2682081" cy="6858000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73732" y="1052736"/>
            <a:ext cx="2098782" cy="461665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3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277812" lvl="0" indent="-457200"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24929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Bild einfügen</a:t>
            </a:r>
            <a:endParaRPr lang="de-DE" sz="1200" b="1" baseline="0" dirty="0"/>
          </a:p>
          <a:p>
            <a:pPr algn="l"/>
            <a:endParaRPr lang="de-DE" sz="1200" b="1" baseline="0" dirty="0"/>
          </a:p>
          <a:p>
            <a:pPr algn="l"/>
            <a:r>
              <a:rPr lang="de-DE" sz="1200" b="1" dirty="0"/>
              <a:t>1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2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9942D21-2114-4C8E-8B40-2182BC72F11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2263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blaue Tex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56705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 userDrawn="1"/>
        </p:nvSpPr>
        <p:spPr>
          <a:xfrm>
            <a:off x="6276001" y="1773238"/>
            <a:ext cx="5915999" cy="4356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14C535E8-F992-4D01-9FD6-79BE5D9D56C4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773238"/>
            <a:ext cx="591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6715" y="2057126"/>
            <a:ext cx="4913447" cy="378832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2553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55359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093396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3824288"/>
            <a:ext cx="3567787" cy="1046440"/>
          </a:xfr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BB472796-CD4D-4BE4-8085-C7264812279E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7938" y="3824288"/>
            <a:ext cx="6372225" cy="230505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36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orient="horz" pos="2409" userDrawn="1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320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platzhalter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0" b="8370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3B4F93D6-E492-4591-9B35-3D96671D505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15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3">
            <a:extLst>
              <a:ext uri="{FF2B5EF4-FFF2-40B4-BE49-F238E27FC236}">
                <a16:creationId xmlns:a16="http://schemas.microsoft.com/office/drawing/2014/main" id="{41E6A50A-2569-49B6-A1C6-3DBFCB0FC74E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8F8B5879-3090-42F7-B038-05342ECFA3F6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CBC67250-CF7B-4601-8223-0CFEA938740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6059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_Text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54045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 userDrawn="1"/>
        </p:nvSpPr>
        <p:spPr>
          <a:xfrm>
            <a:off x="4837105" y="1773238"/>
            <a:ext cx="2517804" cy="4356100"/>
          </a:xfrm>
          <a:prstGeom prst="rect">
            <a:avLst/>
          </a:prstGeom>
          <a:noFill/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AF7F98C6-BFD2-4952-8C18-10F97B491B06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4603" y="3574675"/>
            <a:ext cx="2042808" cy="20381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716001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51738A-69A6-450E-9F1E-64087C35FF3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074603" y="2858041"/>
            <a:ext cx="2042808" cy="276999"/>
          </a:xfrm>
        </p:spPr>
        <p:txBody>
          <a:bodyPr anchor="b">
            <a:spAutoFit/>
          </a:bodyPr>
          <a:lstStyle>
            <a:lvl1pPr marL="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36926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_ blaue Fläche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01138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F80D41E-AF08-44EF-9091-1801C740C61F}"/>
              </a:ext>
            </a:extLst>
          </p:cNvPr>
          <p:cNvSpPr>
            <a:spLocks/>
          </p:cNvSpPr>
          <p:nvPr userDrawn="1"/>
        </p:nvSpPr>
        <p:spPr>
          <a:xfrm>
            <a:off x="4064009" y="1773239"/>
            <a:ext cx="4063995" cy="2399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1C6BADF-8EF5-4120-9B90-9530B25CDF3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7" y="4601182"/>
            <a:ext cx="10728325" cy="152815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8005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3EAF62C-E018-4CB3-B20B-1B89D06CE6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594712" y="2850203"/>
            <a:ext cx="3002590" cy="739302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358775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538162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71755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851378D-E609-46D5-A618-66087BB247B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594712" y="2373634"/>
            <a:ext cx="3002590" cy="369332"/>
          </a:xfrm>
        </p:spPr>
        <p:txBody>
          <a:bodyPr wrap="square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366265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_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549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0E0B85A0-B076-4E8C-AC58-D0A4AD8823D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02530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15074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27619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31838" y="2558374"/>
            <a:ext cx="2838215" cy="357241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/>
            </a:lvl1pPr>
            <a:lvl2pPr>
              <a:lnSpc>
                <a:spcPct val="100000"/>
              </a:lnSpc>
              <a:spcBef>
                <a:spcPts val="400"/>
              </a:spcBef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 sz="1600"/>
            </a:lvl3pPr>
            <a:lvl4pPr>
              <a:lnSpc>
                <a:spcPct val="100000"/>
              </a:lnSpc>
              <a:spcBef>
                <a:spcPts val="400"/>
              </a:spcBef>
              <a:defRPr sz="1600"/>
            </a:lvl4pPr>
            <a:lvl5pPr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31838" y="1773238"/>
            <a:ext cx="2838215" cy="55399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1826863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57884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438EEC09-D1D6-4B04-B977-3D41F15A9CC0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2674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49B42DD-E72C-4AB7-87D1-28C20658207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676893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1591112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591112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2900D99-3563-4B33-9CCC-584A4ACD660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676893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5340A24-2670-4290-8A52-907815A70A2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762674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BA5501F-F55F-4B97-B199-973F038AF52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91112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b="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E42BAA3-7C72-45C7-85E2-E281C6A084C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676893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7B07B0E-6E98-4B1E-9664-0973514586F2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762674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1829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49345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9422C11-C775-49C7-BF58-EE0C77B935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4562271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1384428"/>
            <a:ext cx="4621618" cy="1046440"/>
          </a:xfr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ACA80716-F1B8-449F-94DF-3441C562A44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4363398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3094438"/>
            <a:ext cx="4621618" cy="288029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95E9E5CF-07F2-4D04-9EEE-47FC165F8B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15999" y="2430867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Bildplatzhalter 9">
            <a:extLst>
              <a:ext uri="{FF2B5EF4-FFF2-40B4-BE49-F238E27FC236}">
                <a16:creationId xmlns:a16="http://schemas.microsoft.com/office/drawing/2014/main" id="{4ADC91AD-0A8F-4779-8109-66D7B245D51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15999" y="0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115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_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059731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681413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0974" y="1095027"/>
            <a:ext cx="4210052" cy="2586385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4051064"/>
            <a:ext cx="10728325" cy="523220"/>
          </a:xfrm>
        </p:spPr>
        <p:txBody>
          <a:bodyPr wrap="square" lIns="0" tIns="0" rIns="0" bIns="0" anchor="t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11BD1976-2410-4BBC-9A14-5431550660AF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DF24FB-C636-4112-BE43-F0300251DED4}"/>
              </a:ext>
            </a:extLst>
          </p:cNvPr>
          <p:cNvCxnSpPr/>
          <p:nvPr userDrawn="1"/>
        </p:nvCxnSpPr>
        <p:spPr>
          <a:xfrm>
            <a:off x="5707538" y="4761405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CD1EB402-2B1A-4523-B07A-912EDFD3332D}"/>
              </a:ext>
            </a:extLst>
          </p:cNvPr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3511967908 columns_1_132059443511967908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4367597" y="2080443"/>
            <a:ext cx="3456806" cy="615553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 algn="ctr">
              <a:buNone/>
              <a:defRPr lang="de-DE" sz="2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163512" lvl="0" indent="-342900" algn="ctr">
              <a:spcBef>
                <a:spcPct val="0"/>
              </a:spcBef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idx="1" hasCustomPrompt="1"/>
          </p:nvPr>
        </p:nvSpPr>
        <p:spPr>
          <a:xfrm>
            <a:off x="731837" y="5085184"/>
            <a:ext cx="10728325" cy="889553"/>
          </a:xfrm>
        </p:spPr>
        <p:txBody>
          <a:bodyPr/>
          <a:lstStyle>
            <a:lvl1pPr marL="0" indent="0" algn="ctr">
              <a:buNone/>
              <a:defRPr sz="1400"/>
            </a:lvl1pPr>
            <a:lvl2pPr>
              <a:defRPr/>
            </a:lvl2pPr>
          </a:lstStyle>
          <a:p>
            <a:r>
              <a:rPr lang="en-GB" dirty="0" err="1"/>
              <a:t>Ich</a:t>
            </a:r>
            <a:r>
              <a:rPr lang="en-GB" dirty="0"/>
              <a:t> b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ispieltext</a:t>
            </a:r>
            <a:endParaRPr lang="en-GB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681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39942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E1F0C5B-74B5-43D2-AA28-C4E0E46C13F1}"/>
              </a:ext>
            </a:extLst>
          </p:cNvPr>
          <p:cNvSpPr>
            <a:spLocks/>
          </p:cNvSpPr>
          <p:nvPr userDrawn="1"/>
        </p:nvSpPr>
        <p:spPr>
          <a:xfrm>
            <a:off x="5710137" y="1773237"/>
            <a:ext cx="6481864" cy="36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3356992"/>
            <a:ext cx="5364163" cy="167315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3CEE5DD-2088-4FC2-AEEF-05DB07CF74A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33739170-57E2-4D7C-A737-907FC7D43F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944164" y="1773237"/>
            <a:ext cx="3600000" cy="3600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AE245BC-FC39-4398-B403-B1C260965CB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2645440"/>
            <a:ext cx="5364163" cy="24622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B872C45-5698-453F-9BF7-321B6EDEEE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96000" y="2147277"/>
            <a:ext cx="5364163" cy="430887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BC307CA8-DCC7-4CD6-9262-EA86BCBB52BB}"/>
              </a:ext>
            </a:extLst>
          </p:cNvPr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38575419169 columns_1_132059438575419169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597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pos="7219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 3 Person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571682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B2178A3-D177-4BAD-834B-403E08959F1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591112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8AA4845-411B-4D84-9684-13AEE0F8244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6893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B20E9C1-ECED-4851-AEFD-82700EC9521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62674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FBDAF25-60CF-4144-A31E-8045D62C5889}"/>
              </a:ext>
            </a:extLst>
          </p:cNvPr>
          <p:cNvCxnSpPr/>
          <p:nvPr userDrawn="1"/>
        </p:nvCxnSpPr>
        <p:spPr>
          <a:xfrm>
            <a:off x="2606895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20891A4-FAAB-4A12-8E33-4218491AD61D}"/>
              </a:ext>
            </a:extLst>
          </p:cNvPr>
          <p:cNvCxnSpPr/>
          <p:nvPr userDrawn="1"/>
        </p:nvCxnSpPr>
        <p:spPr>
          <a:xfrm>
            <a:off x="5692676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BE24F11-9E46-4CA2-BC1A-6DF4DADC55EF}"/>
              </a:ext>
            </a:extLst>
          </p:cNvPr>
          <p:cNvCxnSpPr/>
          <p:nvPr userDrawn="1"/>
        </p:nvCxnSpPr>
        <p:spPr>
          <a:xfrm>
            <a:off x="8778457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97A7AA4-8DA2-4982-BC1F-99E109C6AFE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1591112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545649E4-750B-43F8-BDC9-93376DA95B1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676893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32D02D5-6311-4BDF-BDF2-CBE002F711B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762674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49CC0780-4436-4E6B-B509-852034B5CE88}"/>
              </a:ext>
            </a:extLst>
          </p:cNvPr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0482315557 columns_1_132059440482315557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4095DAD6-F652-4376-AAE9-34CAFC918F39}"/>
              </a:ext>
            </a:extLst>
          </p:cNvPr>
          <p:cNvSpPr/>
          <p:nvPr userDrawn="1"/>
        </p:nvSpPr>
        <p:spPr>
          <a:xfrm>
            <a:off x="1591112" y="4581728"/>
            <a:ext cx="280849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tangle 41">
            <a:extLst>
              <a:ext uri="{FF2B5EF4-FFF2-40B4-BE49-F238E27FC236}">
                <a16:creationId xmlns:a16="http://schemas.microsoft.com/office/drawing/2014/main" id="{DE594DA4-C5E5-4CD9-B24B-1E2263BD1BC5}"/>
              </a:ext>
            </a:extLst>
          </p:cNvPr>
          <p:cNvSpPr/>
          <p:nvPr userDrawn="1"/>
        </p:nvSpPr>
        <p:spPr>
          <a:xfrm>
            <a:off x="4676893" y="4581728"/>
            <a:ext cx="280849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4EB2415C-F3C5-4565-8FD4-03ADE7F25479}"/>
              </a:ext>
            </a:extLst>
          </p:cNvPr>
          <p:cNvSpPr/>
          <p:nvPr userDrawn="1"/>
        </p:nvSpPr>
        <p:spPr>
          <a:xfrm>
            <a:off x="7762674" y="4581728"/>
            <a:ext cx="280849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588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0" b="8370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B9191ACD-39F2-4858-AF32-A85AA2B89004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36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3">
            <a:extLst>
              <a:ext uri="{FF2B5EF4-FFF2-40B4-BE49-F238E27FC236}">
                <a16:creationId xmlns:a16="http://schemas.microsoft.com/office/drawing/2014/main" id="{7982485C-08D2-4D4C-A6EE-DA380C242422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1077DEA6-70F3-4526-A874-46FA3436FB95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E7876C5B-5252-4095-864C-8F17851FED23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Abschlussfolie</a:t>
            </a:r>
            <a:endParaRPr lang="de-DE" dirty="0"/>
          </a:p>
        </p:txBody>
      </p:sp>
      <p:sp>
        <p:nvSpPr>
          <p:cNvPr id="3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0_132077611449449403 columns_1_132077611449449403 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825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_ohne Strich_Ausnah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0681188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D871CF31-C1CC-47CA-A7B6-A61773910104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522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lau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71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524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lau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006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32958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24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Karte_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73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98506"/>
            <a:ext cx="4578486" cy="738664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8" y="3709040"/>
            <a:ext cx="4578486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208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Karte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83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00065"/>
            <a:ext cx="4578486" cy="147732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  <a:br>
              <a:rPr lang="de-DE"/>
            </a:br>
            <a:r>
              <a:rPr lang="de-DE"/>
              <a:t>zweizeilig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883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AA6D94B-0521-42F2-9F06-9BB3145FCF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92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9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DCB815F-E587-4332-A934-EA4D2E466F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885476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link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454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88CA2DA-98B7-4F09-87C1-8A8782D0F5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216697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975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1B4BC97-DA97-47E5-A031-F4489CC1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F9468D2-00BA-4450-879A-EA800A1DCD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5251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2750849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ECB48A9-282A-48DE-ADDC-9741FABCB0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25834294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83" imgH="384" progId="TCLayout.ActiveDocument.1">
                  <p:embed/>
                </p:oleObj>
              </mc:Choice>
              <mc:Fallback>
                <p:oleObj name="think-cell Folie" r:id="rId3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E2E7152-C956-4E84-A8ED-56D225558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algn="ctr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838" y="1773238"/>
            <a:ext cx="10728325" cy="4356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838" y="6568972"/>
            <a:ext cx="589411" cy="1538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>
              <a:defRPr lang="de-DE" sz="1000" smtClean="0"/>
            </a:lvl1pPr>
          </a:lstStyle>
          <a:p>
            <a:fld id="{EC72C4D0-8EA6-4861-B527-D380ACBF35D3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9224" y="6568973"/>
            <a:ext cx="9782719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de-DE" sz="1000" smtClean="0"/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0476" y="6568973"/>
            <a:ext cx="25968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1000" b="1" smtClean="0"/>
            </a:lvl1pPr>
          </a:lstStyle>
          <a:p>
            <a:pPr algn="r"/>
            <a:fld id="{1213123D-ADC2-423E-8E38-66EF22156AFA}" type="slidenum">
              <a:rPr lang="de-DE" smtClean="0"/>
              <a:pPr algn="r"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A8D1D19-54C3-418A-A11B-72A66F1E6F0E}"/>
              </a:ext>
            </a:extLst>
          </p:cNvPr>
          <p:cNvCxnSpPr/>
          <p:nvPr userDrawn="1"/>
        </p:nvCxnSpPr>
        <p:spPr>
          <a:xfrm>
            <a:off x="5707538" y="1191349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05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83" r:id="rId2"/>
    <p:sldLayoutId id="2147483681" r:id="rId3"/>
    <p:sldLayoutId id="2147483684" r:id="rId4"/>
    <p:sldLayoutId id="2147483682" r:id="rId5"/>
    <p:sldLayoutId id="2147483685" r:id="rId6"/>
    <p:sldLayoutId id="2147483686" r:id="rId7"/>
    <p:sldLayoutId id="2147483710" r:id="rId8"/>
    <p:sldLayoutId id="2147483687" r:id="rId9"/>
    <p:sldLayoutId id="2147483714" r:id="rId10"/>
    <p:sldLayoutId id="2147483721" r:id="rId11"/>
    <p:sldLayoutId id="2147483680" r:id="rId12"/>
    <p:sldLayoutId id="2147483688" r:id="rId13"/>
    <p:sldLayoutId id="2147483689" r:id="rId14"/>
    <p:sldLayoutId id="2147483691" r:id="rId15"/>
    <p:sldLayoutId id="2147483692" r:id="rId16"/>
    <p:sldLayoutId id="2147483715" r:id="rId17"/>
    <p:sldLayoutId id="2147483696" r:id="rId18"/>
    <p:sldLayoutId id="2147483693" r:id="rId19"/>
    <p:sldLayoutId id="2147483697" r:id="rId20"/>
    <p:sldLayoutId id="2147483699" r:id="rId21"/>
    <p:sldLayoutId id="2147483698" r:id="rId22"/>
    <p:sldLayoutId id="2147483695" r:id="rId23"/>
    <p:sldLayoutId id="2147483702" r:id="rId24"/>
    <p:sldLayoutId id="2147483708" r:id="rId25"/>
    <p:sldLayoutId id="2147483703" r:id="rId26"/>
    <p:sldLayoutId id="2147483706" r:id="rId27"/>
    <p:sldLayoutId id="2147483709" r:id="rId28"/>
    <p:sldLayoutId id="2147483711" r:id="rId2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400" b="0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Tahoma" panose="020B060403050404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www.eah-jena.de/karriereweg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22023" y="-105588"/>
            <a:ext cx="9865096" cy="1518364"/>
          </a:xfrm>
        </p:spPr>
        <p:txBody>
          <a:bodyPr/>
          <a:lstStyle/>
          <a:p>
            <a:br>
              <a:rPr lang="en-US" sz="3600" baseline="30000" dirty="0"/>
            </a:br>
            <a:br>
              <a:rPr lang="en-US" sz="3600" baseline="30000" dirty="0"/>
            </a:br>
            <a:br>
              <a:rPr lang="en-US" sz="3600" baseline="30000" dirty="0"/>
            </a:br>
            <a:endParaRPr lang="de-DE" sz="4000" b="1" baseline="30000" dirty="0">
              <a:solidFill>
                <a:schemeClr val="tx2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87529" y="1412776"/>
            <a:ext cx="8352928" cy="2808312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000" i="1" baseline="300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1D7F9F-199A-CB64-DB9D-C7CEBE6AB58A}"/>
              </a:ext>
            </a:extLst>
          </p:cNvPr>
          <p:cNvSpPr txBox="1"/>
          <p:nvPr/>
        </p:nvSpPr>
        <p:spPr>
          <a:xfrm>
            <a:off x="9082507" y="6384307"/>
            <a:ext cx="22478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err="1">
                <a:solidFill>
                  <a:schemeClr val="tx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Bild</a:t>
            </a:r>
            <a:r>
              <a:rPr lang="en-US" sz="1100" i="1" dirty="0">
                <a:solidFill>
                  <a:schemeClr val="tx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: http://www.freepik.com/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80A1A1E-CF84-91A5-54C7-6238BF9BF39A}"/>
              </a:ext>
            </a:extLst>
          </p:cNvPr>
          <p:cNvSpPr txBox="1"/>
          <p:nvPr/>
        </p:nvSpPr>
        <p:spPr>
          <a:xfrm>
            <a:off x="1963199" y="3852282"/>
            <a:ext cx="94969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b="1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  <a:p>
            <a:endParaRPr lang="en-US" b="1" dirty="0"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A5D5D3B-1C49-6C67-1A76-6354B95585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888" y="5528685"/>
            <a:ext cx="1552178" cy="1329315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59565" y="1674232"/>
            <a:ext cx="6388361" cy="4167496"/>
          </a:xfrm>
        </p:spPr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6713" y="1646385"/>
            <a:ext cx="6350895" cy="4054601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335360" y="1772819"/>
            <a:ext cx="5131353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de-DE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Die Exkursion richtet sich insbesondere an Studierende der Studiengänge Maschinenbau und Wirtschaftsingenieurwesen .  </a:t>
            </a:r>
          </a:p>
          <a:p>
            <a:pPr algn="just"/>
            <a:endParaRPr lang="de-DE" dirty="0">
              <a:solidFill>
                <a:schemeClr val="tx1">
                  <a:lumMod val="75000"/>
                </a:schemeClr>
              </a:solidFill>
              <a:latin typeface="Roboto"/>
            </a:endParaRPr>
          </a:p>
          <a:p>
            <a:pPr algn="just"/>
            <a:r>
              <a:rPr lang="de-DE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Ein Deutschniveau von B1 ist notwendig.</a:t>
            </a:r>
          </a:p>
          <a:p>
            <a:pPr algn="just"/>
            <a:r>
              <a:rPr lang="de-DE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Es ist ein Bustransfer ab Jena und zurück organisiert. Die Teilnahme ist kostenlos. Es sind nur 20 Plätze verfügbar. </a:t>
            </a:r>
          </a:p>
          <a:p>
            <a:pPr algn="just"/>
            <a:endParaRPr lang="de-DE" dirty="0">
              <a:solidFill>
                <a:schemeClr val="tx1">
                  <a:lumMod val="75000"/>
                </a:schemeClr>
              </a:solidFill>
              <a:latin typeface="Roboto"/>
            </a:endParaRPr>
          </a:p>
          <a:p>
            <a:pPr algn="just"/>
            <a:r>
              <a:rPr lang="de-DE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Anmeldung unter moodle oder E-Mail:</a:t>
            </a:r>
          </a:p>
          <a:p>
            <a:pPr algn="just"/>
            <a:r>
              <a:rPr lang="de-DE" b="1">
                <a:solidFill>
                  <a:schemeClr val="tx1">
                    <a:lumMod val="75000"/>
                  </a:schemeClr>
                </a:solidFill>
                <a:latin typeface="Roboto"/>
              </a:rPr>
              <a:t>Natia.Khorguashvili-Kinne</a:t>
            </a:r>
            <a:r>
              <a:rPr lang="en-US" b="1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@eah-jena.de</a:t>
            </a:r>
            <a:endParaRPr lang="de-DE" b="1" dirty="0">
              <a:solidFill>
                <a:schemeClr val="tx1">
                  <a:lumMod val="75000"/>
                </a:schemeClr>
              </a:solidFill>
              <a:latin typeface="Roboto"/>
            </a:endParaRPr>
          </a:p>
          <a:p>
            <a:pPr algn="just"/>
            <a:endParaRPr lang="de-DE" sz="1600" dirty="0">
              <a:solidFill>
                <a:schemeClr val="tx1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just"/>
            <a:endParaRPr lang="de-DE" b="0" i="0" dirty="0">
              <a:solidFill>
                <a:schemeClr val="tx1">
                  <a:lumMod val="50000"/>
                </a:schemeClr>
              </a:solidFill>
              <a:effectLst/>
              <a:latin typeface="Roboto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087528" y="407421"/>
            <a:ext cx="854497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tx1">
                    <a:lumMod val="50000"/>
                  </a:schemeClr>
                </a:solidFill>
                <a:latin typeface="Roboto"/>
              </a:rPr>
              <a:t>                  </a:t>
            </a:r>
            <a:r>
              <a:rPr lang="de-DE" sz="2400" b="1" dirty="0">
                <a:latin typeface="Roboto"/>
              </a:rPr>
              <a:t>Exkursion  zur Viega GmbH &amp; Co</a:t>
            </a:r>
          </a:p>
          <a:p>
            <a:r>
              <a:rPr lang="de-DE" sz="2400" b="1" dirty="0">
                <a:latin typeface="Roboto"/>
              </a:rPr>
              <a:t>             am  28.11.24 von 12:00 bis 17:00 Uhr</a:t>
            </a:r>
          </a:p>
          <a:p>
            <a:endParaRPr lang="de-DE" b="1" dirty="0">
              <a:latin typeface="Roboto"/>
            </a:endParaRPr>
          </a:p>
        </p:txBody>
      </p:sp>
      <p:sp>
        <p:nvSpPr>
          <p:cNvPr id="13" name="AutoShape 4" descr="https://www.viega.de/etc.clientlibs/viega-frontend/clientlibs/main/resources/icons/logo_w_border_anniversary_white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DC6A38-0F4D-CDDF-ED93-B502F8C9E730}"/>
              </a:ext>
            </a:extLst>
          </p:cNvPr>
          <p:cNvSpPr txBox="1"/>
          <p:nvPr/>
        </p:nvSpPr>
        <p:spPr>
          <a:xfrm>
            <a:off x="2087529" y="6050240"/>
            <a:ext cx="6388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800" b="1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 weitere Informationen unter </a:t>
            </a:r>
            <a:r>
              <a:rPr lang="de-DE" sz="1800" b="1" dirty="0">
                <a:solidFill>
                  <a:schemeClr val="tx1">
                    <a:lumMod val="75000"/>
                  </a:schemeClr>
                </a:solidFill>
                <a:latin typeface="Robo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ah-jena.de/karrierewege</a:t>
            </a:r>
            <a:r>
              <a:rPr lang="de-DE" sz="1800" b="1" dirty="0">
                <a:solidFill>
                  <a:schemeClr val="tx1">
                    <a:lumMod val="75000"/>
                  </a:schemeClr>
                </a:solidFill>
                <a:latin typeface="Roboto"/>
              </a:rPr>
              <a:t>  </a:t>
            </a:r>
          </a:p>
          <a:p>
            <a:pPr algn="l"/>
            <a:r>
              <a:rPr lang="de-DE" sz="2400" b="0" i="0" dirty="0">
                <a:solidFill>
                  <a:srgbClr val="212121"/>
                </a:solidFill>
                <a:effectLst/>
                <a:latin typeface="Roboto Condensed" panose="02000000000000000000" pitchFamily="2" charset="0"/>
              </a:rPr>
              <a:t> </a:t>
            </a:r>
            <a:endParaRPr lang="de-DE" b="0" i="0" dirty="0">
              <a:solidFill>
                <a:srgbClr val="212121"/>
              </a:solidFill>
              <a:effectLst/>
              <a:latin typeface="wf_segoe-ui_normal"/>
            </a:endParaRPr>
          </a:p>
        </p:txBody>
      </p:sp>
    </p:spTree>
    <p:extLst>
      <p:ext uri="{BB962C8B-B14F-4D97-AF65-F5344CB8AC3E}">
        <p14:creationId xmlns:p14="http://schemas.microsoft.com/office/powerpoint/2010/main" val="392348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,&quot; ThousandSeparator=&quot;.&quot; NegativeNumberFormat=&quot;1&quot; /&gt;&lt;Font&gt;&lt;Output_Font_Name Default=&quot;Arial&quot; UsePPTTheme=&quot;True&quot; /&gt;&lt;/Font&gt;&lt;DateFormat CultureID=&quot;2057&quot; FormatString=&quot;dd/MM/yyyy&quot; /&gt;&lt;/MekkoFormats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JJim6soivy_YJuF7Jf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DVLx9bUUi.bqwsUKb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.MQklOzZvF00UPyEM2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jFJIKjbmp7c_zVdSQ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ZgGPxwKO6I6Y82XOm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wP6g5ryY5cBaLkWJ9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sylVTrp.VKqcw4Ooo2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.q0VkNSR.fIoOrYdGE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nHCRGq94y958tuldP8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W8_iEz_k9Txkwy3xF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qYck2rmikccpO_nehE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v2S6S1RFlE3_Kq689h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dk8ZN1zHkSLMFojCM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P1AK3I.TclenjbfBq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Zdm530wh95dUcgEyC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kitxHu0VMaMUSmbvHg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JoRW7OBhoyXoiQyKJ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xYb8BNr8_aWCyaLpxm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eRsucCQg2PS5DjMHEI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60sUPPlsHAvJ6ZkcyF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x22kR.acEw0q1qmfAK9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LEG_Farben">
      <a:dk1>
        <a:srgbClr val="445469"/>
      </a:dk1>
      <a:lt1>
        <a:sysClr val="window" lastClr="FFFFFF"/>
      </a:lt1>
      <a:dk2>
        <a:srgbClr val="0089C1"/>
      </a:dk2>
      <a:lt2>
        <a:srgbClr val="FFFFFF"/>
      </a:lt2>
      <a:accent1>
        <a:srgbClr val="0089C1"/>
      </a:accent1>
      <a:accent2>
        <a:srgbClr val="6AB023"/>
      </a:accent2>
      <a:accent3>
        <a:srgbClr val="C9D30E"/>
      </a:accent3>
      <a:accent4>
        <a:srgbClr val="FFCC00"/>
      </a:accent4>
      <a:accent5>
        <a:srgbClr val="F1992D"/>
      </a:accent5>
      <a:accent6>
        <a:srgbClr val="0089C1"/>
      </a:accent6>
      <a:hlink>
        <a:srgbClr val="0089C1"/>
      </a:hlink>
      <a:folHlink>
        <a:srgbClr val="6AB023"/>
      </a:folHlink>
    </a:clrScheme>
    <a:fontScheme name="LEG Thüringen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</TotalTime>
  <Words>96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Tahoma</vt:lpstr>
      <vt:lpstr>Calibri</vt:lpstr>
      <vt:lpstr>Arial</vt:lpstr>
      <vt:lpstr>Roboto Condensed</vt:lpstr>
      <vt:lpstr>Roboto</vt:lpstr>
      <vt:lpstr>Wingdings</vt:lpstr>
      <vt:lpstr>Fira Sans</vt:lpstr>
      <vt:lpstr>wf_segoe-ui_normal</vt:lpstr>
      <vt:lpstr>Symbol</vt:lpstr>
      <vt:lpstr>Office</vt:lpstr>
      <vt:lpstr>think-cell Folie</vt:lpstr>
      <vt:lpstr>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Krempels</dc:creator>
  <cp:lastModifiedBy>Natia Khorguashvili-Kinne</cp:lastModifiedBy>
  <cp:revision>635</cp:revision>
  <dcterms:created xsi:type="dcterms:W3CDTF">2019-06-21T12:42:20Z</dcterms:created>
  <dcterms:modified xsi:type="dcterms:W3CDTF">2024-11-21T21:2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b3cc57-ad54-4613-8228-62b95826f463_Enabled">
    <vt:lpwstr>true</vt:lpwstr>
  </property>
  <property fmtid="{D5CDD505-2E9C-101B-9397-08002B2CF9AE}" pid="3" name="MSIP_Label_20b3cc57-ad54-4613-8228-62b95826f463_SetDate">
    <vt:lpwstr>2024-05-23T08:03:56Z</vt:lpwstr>
  </property>
  <property fmtid="{D5CDD505-2E9C-101B-9397-08002B2CF9AE}" pid="4" name="MSIP_Label_20b3cc57-ad54-4613-8228-62b95826f463_Method">
    <vt:lpwstr>Standard</vt:lpwstr>
  </property>
  <property fmtid="{D5CDD505-2E9C-101B-9397-08002B2CF9AE}" pid="5" name="MSIP_Label_20b3cc57-ad54-4613-8228-62b95826f463_Name">
    <vt:lpwstr>defa4170-0d19-0005-0004-bc88714345d2</vt:lpwstr>
  </property>
  <property fmtid="{D5CDD505-2E9C-101B-9397-08002B2CF9AE}" pid="6" name="MSIP_Label_20b3cc57-ad54-4613-8228-62b95826f463_SiteId">
    <vt:lpwstr>c81b6223-c223-4518-968a-8b0a0419d697</vt:lpwstr>
  </property>
  <property fmtid="{D5CDD505-2E9C-101B-9397-08002B2CF9AE}" pid="7" name="MSIP_Label_20b3cc57-ad54-4613-8228-62b95826f463_ActionId">
    <vt:lpwstr>7ed8a18d-588a-41da-9906-f2b9bf6c27bc</vt:lpwstr>
  </property>
  <property fmtid="{D5CDD505-2E9C-101B-9397-08002B2CF9AE}" pid="8" name="MSIP_Label_20b3cc57-ad54-4613-8228-62b95826f463_ContentBits">
    <vt:lpwstr>0</vt:lpwstr>
  </property>
</Properties>
</file>